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94" r:id="rId2"/>
    <p:sldId id="306" r:id="rId3"/>
    <p:sldId id="821" r:id="rId4"/>
    <p:sldId id="822" r:id="rId5"/>
    <p:sldId id="823" r:id="rId6"/>
    <p:sldId id="302" r:id="rId7"/>
    <p:sldId id="304" r:id="rId8"/>
    <p:sldId id="303" r:id="rId9"/>
    <p:sldId id="305" r:id="rId10"/>
    <p:sldId id="275" r:id="rId11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78" d="100"/>
          <a:sy n="78" d="100"/>
        </p:scale>
        <p:origin x="108" y="6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9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9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-551" custLinFactNeighborY="0">
        <dgm:presLayoutVars>
          <dgm:chMax val="1"/>
          <dgm:bulletEnabled val="1"/>
        </dgm:presLayoutVars>
      </dgm:prSet>
      <dgm:spPr/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684A2119-F004-4EA4-91AB-934B6F8401A9}" type="presOf" srcId="{8380A261-4409-4C6B-8A07-0D64C5422F6D}" destId="{3405B94A-B110-4EB0-B99D-680A85764021}" srcOrd="0" destOrd="0" presId="urn:microsoft.com/office/officeart/2005/8/layout/pyramid1"/>
    <dgm:cxn modelId="{87C54C2A-2433-412F-AFDC-EF80684BA9FB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792CBD91-D1FA-4645-B0E6-1E344FDF5B5F}" type="presOf" srcId="{F014B99B-BC0F-4D51-AA35-03139CBC5BDF}" destId="{158BBE6D-1C8E-4142-827F-B1B32D20364B}" srcOrd="1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E02952A2-E36A-4C36-9F3E-BBB3A16BEAFF}" type="presOf" srcId="{CBB2EDB4-08BF-49DB-9282-C363CE23E3D0}" destId="{7099C5AD-A666-455F-9144-31509FAE35FB}" srcOrd="0" destOrd="0" presId="urn:microsoft.com/office/officeart/2005/8/layout/pyramid1"/>
    <dgm:cxn modelId="{EBAC2FB6-06C0-4A9E-9E1C-FA45C82478E1}" type="presOf" srcId="{F014B99B-BC0F-4D51-AA35-03139CBC5BDF}" destId="{47753778-DDCD-4F66-8671-0963E55AC1AB}" srcOrd="0" destOrd="0" presId="urn:microsoft.com/office/officeart/2005/8/layout/pyramid1"/>
    <dgm:cxn modelId="{1E5B1BBB-EB15-427C-923B-76FB6018FA59}" type="presOf" srcId="{8380A261-4409-4C6B-8A07-0D64C5422F6D}" destId="{EB789FCB-B92C-4A52-BB06-4A95FA62001B}" srcOrd="1" destOrd="0" presId="urn:microsoft.com/office/officeart/2005/8/layout/pyramid1"/>
    <dgm:cxn modelId="{CB6F3BE7-F153-4CED-8270-72A0F84A15F2}" type="presOf" srcId="{CBB2EDB4-08BF-49DB-9282-C363CE23E3D0}" destId="{8064A9E2-4365-4891-A563-4210D9FE6047}" srcOrd="1" destOrd="0" presId="urn:microsoft.com/office/officeart/2005/8/layout/pyramid1"/>
    <dgm:cxn modelId="{FC54928D-8489-45BE-A419-478DF3152712}" type="presParOf" srcId="{8C222443-D6D5-437E-8A06-7845FF64044F}" destId="{8E592AC7-B094-488F-86DE-8B46AA43A5F7}" srcOrd="0" destOrd="0" presId="urn:microsoft.com/office/officeart/2005/8/layout/pyramid1"/>
    <dgm:cxn modelId="{DC294B94-6F0D-4281-8DCC-7EE503DCE163}" type="presParOf" srcId="{8E592AC7-B094-488F-86DE-8B46AA43A5F7}" destId="{47753778-DDCD-4F66-8671-0963E55AC1AB}" srcOrd="0" destOrd="0" presId="urn:microsoft.com/office/officeart/2005/8/layout/pyramid1"/>
    <dgm:cxn modelId="{32B8B60D-2A65-4E4C-9F0F-98AF62A9611C}" type="presParOf" srcId="{8E592AC7-B094-488F-86DE-8B46AA43A5F7}" destId="{158BBE6D-1C8E-4142-827F-B1B32D20364B}" srcOrd="1" destOrd="0" presId="urn:microsoft.com/office/officeart/2005/8/layout/pyramid1"/>
    <dgm:cxn modelId="{4C8D2E90-553F-4C69-9633-5DB19C6B4730}" type="presParOf" srcId="{8C222443-D6D5-437E-8A06-7845FF64044F}" destId="{08609C55-E487-4600-AFD0-8994D3888F22}" srcOrd="1" destOrd="0" presId="urn:microsoft.com/office/officeart/2005/8/layout/pyramid1"/>
    <dgm:cxn modelId="{9AE41948-5B39-48DA-8B26-40AF888C607C}" type="presParOf" srcId="{08609C55-E487-4600-AFD0-8994D3888F22}" destId="{7099C5AD-A666-455F-9144-31509FAE35FB}" srcOrd="0" destOrd="0" presId="urn:microsoft.com/office/officeart/2005/8/layout/pyramid1"/>
    <dgm:cxn modelId="{EDA768DD-D368-40A1-A0BA-204DC4265C49}" type="presParOf" srcId="{08609C55-E487-4600-AFD0-8994D3888F22}" destId="{8064A9E2-4365-4891-A563-4210D9FE6047}" srcOrd="1" destOrd="0" presId="urn:microsoft.com/office/officeart/2005/8/layout/pyramid1"/>
    <dgm:cxn modelId="{EE52A2AF-CD13-415D-9E54-7F7697F26A0C}" type="presParOf" srcId="{8C222443-D6D5-437E-8A06-7845FF64044F}" destId="{4E66420A-6794-4210-A8DC-A681DFE94B26}" srcOrd="2" destOrd="0" presId="urn:microsoft.com/office/officeart/2005/8/layout/pyramid1"/>
    <dgm:cxn modelId="{3162D02E-FA21-4300-B51B-7304BA500A88}" type="presParOf" srcId="{4E66420A-6794-4210-A8DC-A681DFE94B26}" destId="{3405B94A-B110-4EB0-B99D-680A85764021}" srcOrd="0" destOrd="0" presId="urn:microsoft.com/office/officeart/2005/8/layout/pyramid1"/>
    <dgm:cxn modelId="{48E779E7-74C8-4ED9-B4DB-8D03ECADD262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088956" y="0"/>
          <a:ext cx="1088956" cy="1579046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b="1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b="1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b="1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b="1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bg1"/>
              </a:solidFill>
            </a:rPr>
            <a:t>Федеральный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088956" y="0"/>
        <a:ext cx="1088956" cy="1579046"/>
      </dsp:txXfrm>
    </dsp:sp>
    <dsp:sp modelId="{7099C5AD-A666-455F-9144-31509FAE35FB}">
      <dsp:nvSpPr>
        <dsp:cNvPr id="0" name=""/>
        <dsp:cNvSpPr/>
      </dsp:nvSpPr>
      <dsp:spPr>
        <a:xfrm>
          <a:off x="540579" y="1594347"/>
          <a:ext cx="2177912" cy="1579046"/>
        </a:xfrm>
        <a:prstGeom prst="trapezoid">
          <a:avLst>
            <a:gd name="adj" fmla="val 34481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/>
            <a:t>Региональный уровень</a:t>
          </a:r>
        </a:p>
      </dsp:txBody>
      <dsp:txXfrm>
        <a:off x="921714" y="1594347"/>
        <a:ext cx="1415642" cy="1579046"/>
      </dsp:txXfrm>
    </dsp:sp>
    <dsp:sp modelId="{3405B94A-B110-4EB0-B99D-680A85764021}">
      <dsp:nvSpPr>
        <dsp:cNvPr id="0" name=""/>
        <dsp:cNvSpPr/>
      </dsp:nvSpPr>
      <dsp:spPr>
        <a:xfrm>
          <a:off x="0" y="3158093"/>
          <a:ext cx="3266868" cy="1579046"/>
        </a:xfrm>
        <a:prstGeom prst="trapezoid">
          <a:avLst>
            <a:gd name="adj" fmla="val 34481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/>
            <a:t>Уровень ОО</a:t>
          </a:r>
        </a:p>
      </dsp:txBody>
      <dsp:txXfrm>
        <a:off x="571701" y="3158093"/>
        <a:ext cx="2123464" cy="157904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06.09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80133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06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06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06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06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06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06.09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06.09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06.09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06.09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06.09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06.09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06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openxmlformats.org/officeDocument/2006/relationships/image" Target="../media/image1.png"/><Relationship Id="rId7" Type="http://schemas.openxmlformats.org/officeDocument/2006/relationships/image" Target="../media/image7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g"/><Relationship Id="rId5" Type="http://schemas.openxmlformats.org/officeDocument/2006/relationships/image" Target="../media/image5.jpeg"/><Relationship Id="rId4" Type="http://schemas.openxmlformats.org/officeDocument/2006/relationships/image" Target="../media/image4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microsoft.com/office/2007/relationships/hdphoto" Target="../media/hdphoto2.wdp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7.png"/><Relationship Id="rId3" Type="http://schemas.openxmlformats.org/officeDocument/2006/relationships/image" Target="../media/image1.png"/><Relationship Id="rId7" Type="http://schemas.openxmlformats.org/officeDocument/2006/relationships/image" Target="../media/image12.png"/><Relationship Id="rId12" Type="http://schemas.openxmlformats.org/officeDocument/2006/relationships/image" Target="../media/image1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11" Type="http://schemas.openxmlformats.org/officeDocument/2006/relationships/image" Target="../media/image15.png"/><Relationship Id="rId5" Type="http://schemas.microsoft.com/office/2007/relationships/hdphoto" Target="../media/hdphoto3.wdp"/><Relationship Id="rId10" Type="http://schemas.microsoft.com/office/2007/relationships/hdphoto" Target="../media/hdphoto4.wdp"/><Relationship Id="rId4" Type="http://schemas.openxmlformats.org/officeDocument/2006/relationships/image" Target="../media/image10.png"/><Relationship Id="rId9" Type="http://schemas.openxmlformats.org/officeDocument/2006/relationships/image" Target="../media/image14.png"/><Relationship Id="rId14" Type="http://schemas.microsoft.com/office/2007/relationships/hdphoto" Target="../media/hdphoto5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689182" y="938995"/>
            <a:ext cx="785792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ое бюджетное профессиональное образовательное учреждение</a:t>
            </a:r>
          </a:p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«Южно-Уральский агропромышленный колледж</a:t>
            </a:r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проекта по внедрению бережливых технологий в системе образования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ой области (для  </a:t>
            </a:r>
            <a:r>
              <a:rPr lang="en-US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ck off )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3923928" y="5119241"/>
            <a:ext cx="4851575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pPr algn="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 ГБПОУ ЮУрАПК</a:t>
            </a:r>
          </a:p>
          <a:p>
            <a:pPr algn="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минева О.В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831999" y="3314548"/>
            <a:ext cx="7624018" cy="120032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планирования и равномерной загрузки  </a:t>
            </a:r>
          </a:p>
          <a:p>
            <a:pPr algn="ctr"/>
            <a:r>
              <a:rPr lang="ru-RU" sz="24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стерских и лабораторий ГБПОУ «ЮУрАПК»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2023 г.</a:t>
            </a:r>
          </a:p>
        </p:txBody>
      </p:sp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0</a:t>
            </a:fld>
            <a:endParaRPr lang="ru-RU" sz="140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89097860"/>
              </p:ext>
            </p:extLst>
          </p:nvPr>
        </p:nvGraphicFramePr>
        <p:xfrm>
          <a:off x="268412" y="1039505"/>
          <a:ext cx="8607175" cy="51065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01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013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281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61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8131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04056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тветственный</a:t>
                      </a:r>
                      <a:r>
                        <a:rPr lang="ru-RU" sz="1300" baseline="0" dirty="0"/>
                        <a:t> 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срок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жидаемый результат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38215">
                <a:tc rowSpan="2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9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altLang="ru-RU" sz="9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своевременная сдача планов работ на следующий месяц</a:t>
                      </a:r>
                      <a:endParaRPr lang="ru-RU" altLang="ru-RU" sz="9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здание приказа по обозначению сроков сдачи плана мастерских и лабораторий на следующий месяц. 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меститель директора по учебно-методической работе Камалова 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иля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шитовна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 13.06.2023 по 13.06.2023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означение точных сроков сдачи плана мастерских и лабораторий и своевременное исполнение этих сроков заведующими.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3821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змещение 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Яндекс.формы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на сайте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ветственная за сайт, заведующая информационным центром Бухтоярова Валентина Васильевна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 13.06.2023 по 14.06.2023</a:t>
                      </a:r>
                    </a:p>
                  </a:txBody>
                  <a:tcPr marL="53975" marR="53975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здание 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Яндекс.формы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на сайте</a:t>
                      </a:r>
                    </a:p>
                  </a:txBody>
                  <a:tcPr marL="53975" marR="53975" marT="0" marB="0"/>
                </a:tc>
                <a:extLst>
                  <a:ext uri="{0D108BD9-81ED-4DB2-BD59-A6C34878D82A}">
                    <a16:rowId xmlns:a16="http://schemas.microsoft.com/office/drawing/2014/main" val="810116896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ольшие временные затраты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полнение заведующими мастерских и лабораторий одновременно 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Яндекс.формы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общего доступа. 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ведующие мастерских Беспалова Светлана Олеговна, Морозова Татьяна Геннадьевна, Гуляев Константин Алексеевич, 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Хуснутдинова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Эльмира 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арсельевна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Седова Елена Геннадьевна, Худяков Сергей Владимирович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 14.06.2023 по 19.06.2023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кращение времени заполнения плана с 12 часов до 4 часов.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обходимость постоянного контроля за сроками предоставления корректировок плана.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амостоятельная  корректировка плана мероприятий заведующими до согласования с заместителем директора по учебно-методической работе. 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меститель директора по учебно-методической работе Камалова 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иля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шитовна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 19.06.2023 по 20.06.2023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кращение времени корректировки плана с 5 часов до 1 часа.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5768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нтроль за исполнением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Утверждение плана мероприятий. 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меститель директора по учебно-методической работе Камалова 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иля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шитовна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 20.06.2023г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кращение времени корректировки плана с 3 часов до 1 часа.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5768">
                <a:tc gridSpan="2"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>
                          <a:solidFill>
                            <a:schemeClr val="dk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Анализ и оценка достижения целевых показателей проекта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ведующая информационным центром Бухтоярова Валентина Васильевна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 19.04.2023 до 13.09.2023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кращение временных затрат на составление плана работы мастерских и лабораторий в 4 раза, с 23,5 часов до 6 часов.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Уменьшение времени на составление плана работы мастерских на 76%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5438653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94851" y="574539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D8E1C705-14D6-41FD-9035-1DBB5D4D54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A96D8E3-DA05-4061-BBD9-2EA686A58D7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844" y="797548"/>
            <a:ext cx="8094985" cy="5725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788578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Руководитель и команда проекта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1584272" y="1282790"/>
            <a:ext cx="4392488" cy="937415"/>
          </a:xfrm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роекта –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ухтоярова Валентина Васильевна,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ведующая информационным центром</a:t>
            </a:r>
          </a:p>
          <a:p>
            <a:endParaRPr lang="ru-RU" sz="2800" dirty="0"/>
          </a:p>
        </p:txBody>
      </p:sp>
      <p:sp>
        <p:nvSpPr>
          <p:cNvPr id="17" name="Объект 1">
            <a:extLst>
              <a:ext uri="{FF2B5EF4-FFF2-40B4-BE49-F238E27FC236}">
                <a16:creationId xmlns:a16="http://schemas.microsoft.com/office/drawing/2014/main" id="{D53D5764-3851-40E6-82FC-030736B1C465}"/>
              </a:ext>
            </a:extLst>
          </p:cNvPr>
          <p:cNvSpPr txBox="1">
            <a:spLocks/>
          </p:cNvSpPr>
          <p:nvPr/>
        </p:nvSpPr>
        <p:spPr>
          <a:xfrm>
            <a:off x="1514093" y="3469342"/>
            <a:ext cx="3193791" cy="7474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айфутдинова Азалия </a:t>
            </a:r>
            <a:r>
              <a:rPr lang="ru-RU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йыловна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заведующая методической частью</a:t>
            </a:r>
          </a:p>
        </p:txBody>
      </p:sp>
      <p:sp>
        <p:nvSpPr>
          <p:cNvPr id="18" name="Объект 1">
            <a:extLst>
              <a:ext uri="{FF2B5EF4-FFF2-40B4-BE49-F238E27FC236}">
                <a16:creationId xmlns:a16="http://schemas.microsoft.com/office/drawing/2014/main" id="{72A1F30B-39A6-4A2E-B33A-5D9B33997058}"/>
              </a:ext>
            </a:extLst>
          </p:cNvPr>
          <p:cNvSpPr txBox="1">
            <a:spLocks/>
          </p:cNvSpPr>
          <p:nvPr/>
        </p:nvSpPr>
        <p:spPr>
          <a:xfrm>
            <a:off x="6153345" y="3403170"/>
            <a:ext cx="3465288" cy="802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Сабирьянова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рина </a:t>
            </a:r>
            <a:r>
              <a:rPr lang="ru-RU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ашитовна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</a:p>
          <a:p>
            <a:pPr marL="0" indent="0">
              <a:buNone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ведующая филиалом </a:t>
            </a:r>
          </a:p>
        </p:txBody>
      </p:sp>
      <p:sp>
        <p:nvSpPr>
          <p:cNvPr id="19" name="Объект 1">
            <a:extLst>
              <a:ext uri="{FF2B5EF4-FFF2-40B4-BE49-F238E27FC236}">
                <a16:creationId xmlns:a16="http://schemas.microsoft.com/office/drawing/2014/main" id="{2EB0810B-082F-45BA-BA1B-16BB9B107EC0}"/>
              </a:ext>
            </a:extLst>
          </p:cNvPr>
          <p:cNvSpPr txBox="1">
            <a:spLocks/>
          </p:cNvSpPr>
          <p:nvPr/>
        </p:nvSpPr>
        <p:spPr>
          <a:xfrm>
            <a:off x="1606678" y="5018539"/>
            <a:ext cx="2239971" cy="8023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Сельницина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Елена Александровна, </a:t>
            </a:r>
          </a:p>
          <a:p>
            <a:pPr marL="0" indent="0">
              <a:buNone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еподаватель</a:t>
            </a:r>
          </a:p>
        </p:txBody>
      </p:sp>
      <p:sp>
        <p:nvSpPr>
          <p:cNvPr id="20" name="Объект 1">
            <a:extLst>
              <a:ext uri="{FF2B5EF4-FFF2-40B4-BE49-F238E27FC236}">
                <a16:creationId xmlns:a16="http://schemas.microsoft.com/office/drawing/2014/main" id="{816A7D7F-316C-43D5-9038-55BB900053CE}"/>
              </a:ext>
            </a:extLst>
          </p:cNvPr>
          <p:cNvSpPr txBox="1">
            <a:spLocks/>
          </p:cNvSpPr>
          <p:nvPr/>
        </p:nvSpPr>
        <p:spPr>
          <a:xfrm>
            <a:off x="5976759" y="5007878"/>
            <a:ext cx="3039782" cy="802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шакова Ирина Аркадьевна, </a:t>
            </a:r>
          </a:p>
          <a:p>
            <a:pPr marL="0" indent="0">
              <a:buNone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еподаватель</a:t>
            </a:r>
          </a:p>
          <a:p>
            <a:endParaRPr lang="ru-RU" sz="2800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FD1942A6-0CD7-4773-8D22-22EBC7D9083E}"/>
              </a:ext>
            </a:extLst>
          </p:cNvPr>
          <p:cNvSpPr/>
          <p:nvPr/>
        </p:nvSpPr>
        <p:spPr>
          <a:xfrm>
            <a:off x="544354" y="2715116"/>
            <a:ext cx="20663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манда проекта:</a:t>
            </a:r>
            <a:endParaRPr lang="ru-RU" sz="2800" dirty="0"/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5D85BA40-A69F-45A3-88CE-888DF2A86E3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670" t="11288" r="30432" b="64140"/>
          <a:stretch/>
        </p:blipFill>
        <p:spPr>
          <a:xfrm>
            <a:off x="214130" y="4742503"/>
            <a:ext cx="1314044" cy="1440000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D70F8303-7148-40DC-812F-97A73319A57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91" t="20418" r="23407" b="31695"/>
          <a:stretch/>
        </p:blipFill>
        <p:spPr>
          <a:xfrm>
            <a:off x="4644005" y="4705165"/>
            <a:ext cx="1249258" cy="1440000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044CCB79-1411-4BD2-AC21-183E7FDE74D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283" t="27600" r="31140" b="57063"/>
          <a:stretch/>
        </p:blipFill>
        <p:spPr>
          <a:xfrm>
            <a:off x="197910" y="3092484"/>
            <a:ext cx="1291867" cy="1440000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B030BB9A-CDCE-46A7-BED7-B2C32DF6221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123" t="30866" r="40681" b="45819"/>
          <a:stretch/>
        </p:blipFill>
        <p:spPr>
          <a:xfrm>
            <a:off x="4599702" y="2957575"/>
            <a:ext cx="1337863" cy="1440000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BB86FD65-0AF0-4038-9DA1-AD453FD4A59A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788" t="18472" r="30318" b="61954"/>
          <a:stretch/>
        </p:blipFill>
        <p:spPr>
          <a:xfrm>
            <a:off x="5399206" y="1209985"/>
            <a:ext cx="1153994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89770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4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6" name="Объект 5">
            <a:extLst>
              <a:ext uri="{FF2B5EF4-FFF2-40B4-BE49-F238E27FC236}">
                <a16:creationId xmlns:a16="http://schemas.microsoft.com/office/drawing/2014/main" id="{CBE77006-B5FC-47C3-B711-AEE41736102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4696" y="744476"/>
            <a:ext cx="3808957" cy="5381687"/>
          </a:xfrm>
        </p:spPr>
      </p:pic>
    </p:spTree>
    <p:extLst>
      <p:ext uri="{BB962C8B-B14F-4D97-AF65-F5344CB8AC3E}">
        <p14:creationId xmlns:p14="http://schemas.microsoft.com/office/powerpoint/2010/main" val="4193112295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AE793C4-FA85-4270-8591-3B37BCB5D5BA}"/>
              </a:ext>
            </a:extLst>
          </p:cNvPr>
          <p:cNvSpPr/>
          <p:nvPr/>
        </p:nvSpPr>
        <p:spPr>
          <a:xfrm>
            <a:off x="3461478" y="517638"/>
            <a:ext cx="25362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лан стенда по проекту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802B60D-C012-4AE0-8C2B-DB979F2B2CA1}"/>
              </a:ext>
            </a:extLst>
          </p:cNvPr>
          <p:cNvSpPr txBox="1"/>
          <p:nvPr/>
        </p:nvSpPr>
        <p:spPr>
          <a:xfrm>
            <a:off x="485663" y="874732"/>
            <a:ext cx="78222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планирования и равномерной загрузки  </a:t>
            </a:r>
          </a:p>
          <a:p>
            <a:pPr algn="ctr"/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стерских и лабораторий ГБПОУ «ЮУрАПК»</a:t>
            </a:r>
          </a:p>
          <a:p>
            <a:pPr algn="ctr"/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A1295541-E683-4539-8982-FFBB0A0AB386}"/>
              </a:ext>
            </a:extLst>
          </p:cNvPr>
          <p:cNvSpPr/>
          <p:nvPr/>
        </p:nvSpPr>
        <p:spPr>
          <a:xfrm>
            <a:off x="379348" y="844898"/>
            <a:ext cx="8360889" cy="76925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69902A1C-8B18-4E98-A443-7A2AD962AE1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1090" t="1" r="-1" b="857"/>
          <a:stretch/>
        </p:blipFill>
        <p:spPr>
          <a:xfrm>
            <a:off x="379348" y="1942375"/>
            <a:ext cx="2186556" cy="151662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3F1542F3-B3D5-4888-8A08-472CF7074B7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60751" y="2378833"/>
            <a:ext cx="2186557" cy="51491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0FE78F1A-FEBB-41B7-AE79-3F288BF474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50428" y="2402290"/>
            <a:ext cx="2237116" cy="119532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25504959-97B7-4006-94AD-D122AD0607D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87544" y="2402290"/>
            <a:ext cx="1983954" cy="132148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8" name="Объект 5">
            <a:extLst>
              <a:ext uri="{FF2B5EF4-FFF2-40B4-BE49-F238E27FC236}">
                <a16:creationId xmlns:a16="http://schemas.microsoft.com/office/drawing/2014/main" id="{857CD8A0-1977-417D-AE90-EF0B88A33BE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157" y="3749240"/>
            <a:ext cx="1811929" cy="2560080"/>
          </a:xfrm>
          <a:ln>
            <a:solidFill>
              <a:schemeClr val="accent1"/>
            </a:solidFill>
          </a:ln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1DE4F3BF-3D1C-4411-B8DF-4BD45EE96C0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868998" y="4182892"/>
            <a:ext cx="2053083" cy="115832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6A81452-9CE9-4127-A859-895DE272DE2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139952" y="4113119"/>
            <a:ext cx="2663204" cy="1161471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9FCE3DC-AAF5-4789-89BE-F1DE98C98D79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6323" y="3735755"/>
            <a:ext cx="1782392" cy="2520206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527010669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197767" y="465221"/>
            <a:ext cx="889362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Times New Roman" pitchFamily="18" charset="0"/>
                <a:cs typeface="Times New Roman" pitchFamily="18" charset="0"/>
              </a:rPr>
              <a:t>Карта текущего состояния процесса</a:t>
            </a:r>
          </a:p>
        </p:txBody>
      </p:sp>
      <p:sp>
        <p:nvSpPr>
          <p:cNvPr id="115" name="Прямоугольник 114"/>
          <p:cNvSpPr/>
          <p:nvPr/>
        </p:nvSpPr>
        <p:spPr>
          <a:xfrm>
            <a:off x="5562186" y="3001322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7</a:t>
            </a:r>
            <a:r>
              <a:rPr lang="ru-RU" sz="1200" b="1" dirty="0"/>
              <a:t> </a:t>
            </a:r>
          </a:p>
        </p:txBody>
      </p:sp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16C8F304-41F5-453C-A449-A6D4CBE06B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4938" y="1265716"/>
            <a:ext cx="8765568" cy="468356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45" name="TextBox 48">
            <a:extLst>
              <a:ext uri="{FF2B5EF4-FFF2-40B4-BE49-F238E27FC236}">
                <a16:creationId xmlns:a16="http://schemas.microsoft.com/office/drawing/2014/main" id="{6A49BADF-D21C-4F37-83D3-AEEA4B17BA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31640" y="6211166"/>
            <a:ext cx="562478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ремя протекания процесса – 23,5 часа (1410 мин). </a:t>
            </a:r>
          </a:p>
        </p:txBody>
      </p:sp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7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622230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B7C42E1-7540-4319-94AC-6836386DD2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360186"/>
              </p:ext>
            </p:extLst>
          </p:nvPr>
        </p:nvGraphicFramePr>
        <p:xfrm>
          <a:off x="223685" y="1192466"/>
          <a:ext cx="8696629" cy="50225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0135">
                  <a:extLst>
                    <a:ext uri="{9D8B030D-6E8A-4147-A177-3AD203B41FA5}">
                      <a16:colId xmlns:a16="http://schemas.microsoft.com/office/drawing/2014/main" val="3097049720"/>
                    </a:ext>
                  </a:extLst>
                </a:gridCol>
                <a:gridCol w="3064907">
                  <a:extLst>
                    <a:ext uri="{9D8B030D-6E8A-4147-A177-3AD203B41FA5}">
                      <a16:colId xmlns:a16="http://schemas.microsoft.com/office/drawing/2014/main" val="3213739272"/>
                    </a:ext>
                  </a:extLst>
                </a:gridCol>
                <a:gridCol w="3041587">
                  <a:extLst>
                    <a:ext uri="{9D8B030D-6E8A-4147-A177-3AD203B41FA5}">
                      <a16:colId xmlns:a16="http://schemas.microsoft.com/office/drawing/2014/main" val="3907012275"/>
                    </a:ext>
                  </a:extLst>
                </a:gridCol>
              </a:tblGrid>
              <a:tr h="4749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ема</a:t>
                      </a:r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9684614"/>
                  </a:ext>
                </a:extLst>
              </a:tr>
              <a:tr h="508916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3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altLang="ru-RU" sz="13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3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своевременная сдача планов работ на следующий месяц</a:t>
                      </a: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стандарта мониторинга и сбора информации</a:t>
                      </a: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3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приказа по обозначению сроков сдачи плана мастерских и лабораторий на следующий месяц. </a:t>
                      </a: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2873512707"/>
                  </a:ext>
                </a:extLst>
              </a:tr>
              <a:tr h="1243976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3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 Большие временные затраты</a:t>
                      </a: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3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обходимость просматривать планирующую документацию</a:t>
                      </a:r>
                      <a:r>
                        <a:rPr lang="ru-RU" sz="13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каждого заведующего мастерской или лабораторией</a:t>
                      </a:r>
                      <a:r>
                        <a:rPr lang="ru-RU" sz="13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копировать информацию, вносить её в сводную таблицу (проделать действие «копировать-вставить» большое количество раз)</a:t>
                      </a: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3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полнение заведующими мастерских и лабораторий одновременно </a:t>
                      </a:r>
                      <a:r>
                        <a:rPr lang="ru-RU" sz="1300" b="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Яндекс.формы</a:t>
                      </a:r>
                      <a:r>
                        <a:rPr lang="ru-RU" sz="13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бщего доступа сведет указанные временные затраты к нулю.</a:t>
                      </a:r>
                    </a:p>
                    <a:p>
                      <a:pPr algn="just"/>
                      <a:endParaRPr lang="ru-RU" sz="13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398795262"/>
                  </a:ext>
                </a:extLst>
              </a:tr>
              <a:tr h="1684983">
                <a:tc>
                  <a:txBody>
                    <a:bodyPr/>
                    <a:lstStyle/>
                    <a:p>
                      <a:r>
                        <a:rPr lang="ru-RU" altLang="ru-RU" sz="13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 Необходимость постоянного контроля за сроками предоставления корректировок плана.</a:t>
                      </a:r>
                      <a:endParaRPr lang="ru-RU" sz="13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3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ведующие не могут сравнить загруженность своей мастерской с другими,  не видят распределение времени работы преподавателей (подготовка к мероприятию) и групп (наличие накладок мероприятий).   </a:t>
                      </a:r>
                    </a:p>
                    <a:p>
                      <a:r>
                        <a:rPr lang="ru-RU" sz="13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300" b="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Яндекс.форма</a:t>
                      </a:r>
                      <a:r>
                        <a:rPr lang="ru-RU" sz="13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зволяет сразу видеть расписание всех мероприятий в целом и нагрузку преподавателей. Заведующие самостоятельно могут скорректировать даты мероприятий и своевременно внести корректировки. Время ожидания замечаний и согласований с заместителем директора по УМР также сводится к минимуму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981770"/>
                  </a:ext>
                </a:extLst>
              </a:tr>
              <a:tr h="508888">
                <a:tc>
                  <a:txBody>
                    <a:bodyPr/>
                    <a:lstStyle/>
                    <a:p>
                      <a:r>
                        <a:rPr lang="ru-RU" altLang="ru-RU" sz="13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 . Контроль за исполнением</a:t>
                      </a:r>
                      <a:endParaRPr lang="ru-RU" sz="13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3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обходимость контролировать сроки размещения плана на сайте колледжа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3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Яндекс.форма</a:t>
                      </a:r>
                      <a:r>
                        <a:rPr lang="ru-RU" sz="13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уже размещена на сайте. Просмотреть ее можно в любое время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8765771"/>
                  </a:ext>
                </a:extLst>
              </a:tr>
            </a:tbl>
          </a:graphicData>
        </a:graphic>
      </p:graphicFrame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8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458318" y="79780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graphicFrame>
        <p:nvGraphicFramePr>
          <p:cNvPr id="22" name="Схема 21">
            <a:extLst>
              <a:ext uri="{FF2B5EF4-FFF2-40B4-BE49-F238E27FC236}">
                <a16:creationId xmlns:a16="http://schemas.microsoft.com/office/drawing/2014/main" id="{B359981E-0E25-4C6C-9123-53A4E29257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18346734"/>
              </p:ext>
            </p:extLst>
          </p:nvPr>
        </p:nvGraphicFramePr>
        <p:xfrm>
          <a:off x="801553" y="1395245"/>
          <a:ext cx="3266868" cy="47371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3" name="Скругленный прямоугольник 9">
            <a:extLst>
              <a:ext uri="{FF2B5EF4-FFF2-40B4-BE49-F238E27FC236}">
                <a16:creationId xmlns:a16="http://schemas.microsoft.com/office/drawing/2014/main" id="{C07B5FC6-6E01-4177-BEFD-E9C7D7A9CFE9}"/>
              </a:ext>
            </a:extLst>
          </p:cNvPr>
          <p:cNvSpPr/>
          <p:nvPr/>
        </p:nvSpPr>
        <p:spPr>
          <a:xfrm>
            <a:off x="4139952" y="1916832"/>
            <a:ext cx="3769515" cy="787713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федеральном уровне</a:t>
            </a:r>
          </a:p>
        </p:txBody>
      </p:sp>
      <p:sp>
        <p:nvSpPr>
          <p:cNvPr id="24" name="Скругленный прямоугольник 10">
            <a:extLst>
              <a:ext uri="{FF2B5EF4-FFF2-40B4-BE49-F238E27FC236}">
                <a16:creationId xmlns:a16="http://schemas.microsoft.com/office/drawing/2014/main" id="{8D8EA0A2-1F53-4F75-A591-D76926D69948}"/>
              </a:ext>
            </a:extLst>
          </p:cNvPr>
          <p:cNvSpPr/>
          <p:nvPr/>
        </p:nvSpPr>
        <p:spPr>
          <a:xfrm>
            <a:off x="4175392" y="3007517"/>
            <a:ext cx="3746698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региональном уровне</a:t>
            </a:r>
          </a:p>
        </p:txBody>
      </p:sp>
      <p:sp>
        <p:nvSpPr>
          <p:cNvPr id="25" name="Скругленный прямоугольник 11">
            <a:extLst>
              <a:ext uri="{FF2B5EF4-FFF2-40B4-BE49-F238E27FC236}">
                <a16:creationId xmlns:a16="http://schemas.microsoft.com/office/drawing/2014/main" id="{AB58CBE6-16FB-4B13-80D0-03524DF2D1AA}"/>
              </a:ext>
            </a:extLst>
          </p:cNvPr>
          <p:cNvSpPr/>
          <p:nvPr/>
        </p:nvSpPr>
        <p:spPr>
          <a:xfrm>
            <a:off x="4175392" y="3898827"/>
            <a:ext cx="3787897" cy="2233558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indent="-342900">
              <a:buAutoNum type="arabicPeriod"/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своевременная сдача планов работ на следующий месяц</a:t>
            </a:r>
          </a:p>
          <a:p>
            <a:pPr marL="342900" indent="-342900">
              <a:buAutoNum type="arabicPeriod"/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ольшие временные затраты</a:t>
            </a:r>
          </a:p>
          <a:p>
            <a:pPr marL="342900" indent="-342900">
              <a:buAutoNum type="arabicPeriod"/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обходимость постоянного контроля за сроками предоставления корректировок плана</a:t>
            </a:r>
          </a:p>
          <a:p>
            <a:pPr marL="342900" indent="-342900">
              <a:buAutoNum type="arabicPeriod"/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роль за исполнением</a:t>
            </a:r>
          </a:p>
        </p:txBody>
      </p:sp>
      <p:sp>
        <p:nvSpPr>
          <p:cNvPr id="26" name="Пятно 1 60">
            <a:extLst>
              <a:ext uri="{FF2B5EF4-FFF2-40B4-BE49-F238E27FC236}">
                <a16:creationId xmlns:a16="http://schemas.microsoft.com/office/drawing/2014/main" id="{C7931780-91A6-4795-A6B5-004C4B010CA7}"/>
              </a:ext>
            </a:extLst>
          </p:cNvPr>
          <p:cNvSpPr/>
          <p:nvPr/>
        </p:nvSpPr>
        <p:spPr>
          <a:xfrm>
            <a:off x="1424150" y="4680990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27" name="Пятно 1 60">
            <a:extLst>
              <a:ext uri="{FF2B5EF4-FFF2-40B4-BE49-F238E27FC236}">
                <a16:creationId xmlns:a16="http://schemas.microsoft.com/office/drawing/2014/main" id="{E6115CB2-4D42-45C1-A154-57C780B97F20}"/>
              </a:ext>
            </a:extLst>
          </p:cNvPr>
          <p:cNvSpPr/>
          <p:nvPr/>
        </p:nvSpPr>
        <p:spPr>
          <a:xfrm>
            <a:off x="1219340" y="5397861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28" name="Пятно 1 60">
            <a:extLst>
              <a:ext uri="{FF2B5EF4-FFF2-40B4-BE49-F238E27FC236}">
                <a16:creationId xmlns:a16="http://schemas.microsoft.com/office/drawing/2014/main" id="{C6383405-A91E-44CA-B711-5343AE3A9B46}"/>
              </a:ext>
            </a:extLst>
          </p:cNvPr>
          <p:cNvSpPr/>
          <p:nvPr/>
        </p:nvSpPr>
        <p:spPr>
          <a:xfrm>
            <a:off x="2644153" y="463374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29" name="Пятно 1 60">
            <a:extLst>
              <a:ext uri="{FF2B5EF4-FFF2-40B4-BE49-F238E27FC236}">
                <a16:creationId xmlns:a16="http://schemas.microsoft.com/office/drawing/2014/main" id="{ADC4833B-2D5E-4F91-AC5E-9B6B0402D9E5}"/>
              </a:ext>
            </a:extLst>
          </p:cNvPr>
          <p:cNvSpPr/>
          <p:nvPr/>
        </p:nvSpPr>
        <p:spPr>
          <a:xfrm>
            <a:off x="2740598" y="5415773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970D5C5-FB1B-4607-B94D-242D9579A688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9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8446" name="TextBox 48"/>
          <p:cNvSpPr txBox="1">
            <a:spLocks noChangeArrowheads="1"/>
          </p:cNvSpPr>
          <p:nvPr/>
        </p:nvSpPr>
        <p:spPr bwMode="auto">
          <a:xfrm>
            <a:off x="323528" y="5847609"/>
            <a:ext cx="471487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я протекания процесса – 6 час (360 минут)</a:t>
            </a:r>
            <a:r>
              <a:rPr lang="ru-RU" sz="1600" b="1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2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842" y="644777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66C51AF-F9CF-4341-AE6C-D6A87116FF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0074" y="1273897"/>
            <a:ext cx="8620398" cy="4142910"/>
          </a:xfrm>
          <a:prstGeom prst="rect">
            <a:avLst/>
          </a:prstGeom>
        </p:spPr>
      </p:pic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65</TotalTime>
  <Words>680</Words>
  <Application>Microsoft Office PowerPoint</Application>
  <PresentationFormat>Экран (4:3)</PresentationFormat>
  <Paragraphs>123</Paragraphs>
  <Slides>10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5" baseType="lpstr">
      <vt:lpstr>Arial</vt:lpstr>
      <vt:lpstr>Calibri</vt:lpstr>
      <vt:lpstr>Times New Roman</vt:lpstr>
      <vt:lpstr>Тема Office</vt:lpstr>
      <vt:lpstr>think-cell Slide</vt:lpstr>
      <vt:lpstr>Челябинская область</vt:lpstr>
      <vt:lpstr>Презентация PowerPoint</vt:lpstr>
      <vt:lpstr>Челябинская область</vt:lpstr>
      <vt:lpstr>Челябинская область</vt:lpstr>
      <vt:lpstr>Челябинская область</vt:lpstr>
      <vt:lpstr>Презентация PowerPoint</vt:lpstr>
      <vt:lpstr>Челябинская область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ЮЖНО-УРАЛЬСКИЙ АГРОПРОМЫШЛЕННЫЙ КОЛЛЕДЖ ГБПОУ</cp:lastModifiedBy>
  <cp:revision>154</cp:revision>
  <cp:lastPrinted>2019-04-25T09:14:46Z</cp:lastPrinted>
  <dcterms:created xsi:type="dcterms:W3CDTF">2018-08-20T14:01:12Z</dcterms:created>
  <dcterms:modified xsi:type="dcterms:W3CDTF">2023-09-06T11:32:50Z</dcterms:modified>
</cp:coreProperties>
</file>